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8" r:id="rId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6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Styl jasny 1 — Ak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>
        <p:scale>
          <a:sx n="125" d="100"/>
          <a:sy n="125" d="100"/>
        </p:scale>
        <p:origin x="1092" y="-49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Arkusz_programu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Arkusz_programu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05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l-PL" sz="1050" b="1" dirty="0"/>
              <a:t>Czy znane Ci jest pojęcie </a:t>
            </a:r>
            <a:r>
              <a:rPr lang="pl-PL" sz="1050" b="1" dirty="0" smtClean="0"/>
              <a:t/>
            </a:r>
            <a:br>
              <a:rPr lang="pl-PL" sz="1050" b="1" dirty="0" smtClean="0"/>
            </a:br>
            <a:r>
              <a:rPr lang="pl-PL" sz="1050" b="1" dirty="0" smtClean="0"/>
              <a:t>Green </a:t>
            </a:r>
            <a:r>
              <a:rPr lang="pl-PL" sz="1050" b="1" dirty="0"/>
              <a:t>Lean?</a:t>
            </a:r>
          </a:p>
        </c:rich>
      </c:tx>
      <c:layout>
        <c:manualLayout>
          <c:xMode val="edge"/>
          <c:yMode val="edge"/>
          <c:x val="0.29493970596332797"/>
          <c:y val="6.50193152855897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05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title>
    <c:autoTitleDeleted val="0"/>
    <c:plotArea>
      <c:layout>
        <c:manualLayout>
          <c:layoutTarget val="inner"/>
          <c:xMode val="edge"/>
          <c:yMode val="edge"/>
          <c:x val="0.34197394906056322"/>
          <c:y val="0.39029315622996646"/>
          <c:w val="0.32879154965769142"/>
          <c:h val="0.6525641733973423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9CD-4980-8B33-FD328A71E6F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9CD-4980-8B33-FD328A71E6F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Arkusz1!$C$48:$C$49</c:f>
              <c:strCache>
                <c:ptCount val="2"/>
                <c:pt idx="0">
                  <c:v>tak</c:v>
                </c:pt>
                <c:pt idx="1">
                  <c:v>nie</c:v>
                </c:pt>
              </c:strCache>
            </c:strRef>
          </c:cat>
          <c:val>
            <c:numRef>
              <c:f>Arkusz1!$D$48:$D$49</c:f>
              <c:numCache>
                <c:formatCode>General</c:formatCode>
                <c:ptCount val="2"/>
                <c:pt idx="0">
                  <c:v>11</c:v>
                </c:pt>
                <c:pt idx="1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9CD-4980-8B33-FD328A71E6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7296863241745131"/>
          <c:y val="0.36134180822689627"/>
          <c:w val="0.13580321690557912"/>
          <c:h val="0.299387211524041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l-PL" sz="1050" b="1" dirty="0"/>
              <a:t>Jak oceniasz ogólny poziom świadomości </a:t>
            </a:r>
            <a:r>
              <a:rPr lang="pl-PL" sz="1050" b="1" dirty="0" smtClean="0"/>
              <a:t/>
            </a:r>
            <a:br>
              <a:rPr lang="pl-PL" sz="1050" b="1" dirty="0" smtClean="0"/>
            </a:br>
            <a:r>
              <a:rPr lang="pl-PL" sz="1050" b="1" dirty="0" smtClean="0"/>
              <a:t>marnotrawstwa </a:t>
            </a:r>
            <a:r>
              <a:rPr lang="pl-PL" sz="1050" b="1" dirty="0"/>
              <a:t>środowiskowego wśród </a:t>
            </a:r>
            <a:r>
              <a:rPr lang="pl-PL" sz="1050" b="1" dirty="0" smtClean="0"/>
              <a:t/>
            </a:r>
            <a:br>
              <a:rPr lang="pl-PL" sz="1050" b="1" dirty="0" smtClean="0"/>
            </a:br>
            <a:r>
              <a:rPr lang="pl-PL" sz="1050" b="1" dirty="0" smtClean="0"/>
              <a:t>pracowników </a:t>
            </a:r>
            <a:r>
              <a:rPr lang="pl-PL" sz="1050" b="1" dirty="0"/>
              <a:t>firmy?</a:t>
            </a:r>
          </a:p>
        </c:rich>
      </c:tx>
      <c:layout>
        <c:manualLayout>
          <c:xMode val="edge"/>
          <c:yMode val="edge"/>
          <c:x val="0.35256497315859742"/>
          <c:y val="2.31481481481481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title>
    <c:autoTitleDeleted val="0"/>
    <c:plotArea>
      <c:layout>
        <c:manualLayout>
          <c:layoutTarget val="inner"/>
          <c:xMode val="edge"/>
          <c:yMode val="edge"/>
          <c:x val="0.3771767423867643"/>
          <c:y val="0.27540026246719163"/>
          <c:w val="0.26710443803678519"/>
          <c:h val="0.39718503937007882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0FE-4721-A2DF-778F6815DC4B}"/>
              </c:ext>
            </c:extLst>
          </c:dPt>
          <c:dPt>
            <c:idx val="1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0FE-4721-A2DF-778F6815DC4B}"/>
              </c:ext>
            </c:extLst>
          </c:dPt>
          <c:dPt>
            <c:idx val="2"/>
            <c:bubble3D val="0"/>
            <c:spPr>
              <a:solidFill>
                <a:schemeClr val="accent6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0FE-4721-A2DF-778F6815DC4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0FE-4721-A2DF-778F6815DC4B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F0FE-4721-A2DF-778F6815DC4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Arkusz1!$C$6:$C$10</c:f>
              <c:strCache>
                <c:ptCount val="5"/>
                <c:pt idx="0">
                  <c:v>bardzo wysoki</c:v>
                </c:pt>
                <c:pt idx="1">
                  <c:v>wysoki</c:v>
                </c:pt>
                <c:pt idx="2">
                  <c:v>średni</c:v>
                </c:pt>
                <c:pt idx="3">
                  <c:v>niski</c:v>
                </c:pt>
                <c:pt idx="4">
                  <c:v>bardzo niski</c:v>
                </c:pt>
              </c:strCache>
            </c:strRef>
          </c:cat>
          <c:val>
            <c:numRef>
              <c:f>Arkusz1!$D$6:$D$10</c:f>
              <c:numCache>
                <c:formatCode>General</c:formatCode>
                <c:ptCount val="5"/>
                <c:pt idx="0">
                  <c:v>1</c:v>
                </c:pt>
                <c:pt idx="1">
                  <c:v>14</c:v>
                </c:pt>
                <c:pt idx="2">
                  <c:v>25</c:v>
                </c:pt>
                <c:pt idx="3">
                  <c:v>4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0FE-4721-A2DF-778F6815DC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8535781754318184"/>
          <c:y val="0.29224482356372122"/>
          <c:w val="0.3741680243854964"/>
          <c:h val="0.2262736949547972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673A0D-CBA7-42CF-9081-12D8A850B1A1}" type="datetimeFigureOut">
              <a:rPr lang="pl-PL" smtClean="0"/>
              <a:t>14.10.2024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3F283-5FE2-4577-855E-004401B14A9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72506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673A0D-CBA7-42CF-9081-12D8A850B1A1}" type="datetimeFigureOut">
              <a:rPr lang="pl-PL" smtClean="0"/>
              <a:t>14.10.2024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3F283-5FE2-4577-855E-004401B14A9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742530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673A0D-CBA7-42CF-9081-12D8A850B1A1}" type="datetimeFigureOut">
              <a:rPr lang="pl-PL" smtClean="0"/>
              <a:t>14.10.2024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3F283-5FE2-4577-855E-004401B14A9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14032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673A0D-CBA7-42CF-9081-12D8A850B1A1}" type="datetimeFigureOut">
              <a:rPr lang="pl-PL" smtClean="0"/>
              <a:t>14.10.2024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3F283-5FE2-4577-855E-004401B14A9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741377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673A0D-CBA7-42CF-9081-12D8A850B1A1}" type="datetimeFigureOut">
              <a:rPr lang="pl-PL" smtClean="0"/>
              <a:t>14.10.2024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3F283-5FE2-4577-855E-004401B14A9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286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673A0D-CBA7-42CF-9081-12D8A850B1A1}" type="datetimeFigureOut">
              <a:rPr lang="pl-PL" smtClean="0"/>
              <a:t>14.10.2024</a:t>
            </a:fld>
            <a:endParaRPr lang="pl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3F283-5FE2-4577-855E-004401B14A9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372779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673A0D-CBA7-42CF-9081-12D8A850B1A1}" type="datetimeFigureOut">
              <a:rPr lang="pl-PL" smtClean="0"/>
              <a:t>14.10.2024</a:t>
            </a:fld>
            <a:endParaRPr lang="pl-P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3F283-5FE2-4577-855E-004401B14A9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345522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673A0D-CBA7-42CF-9081-12D8A850B1A1}" type="datetimeFigureOut">
              <a:rPr lang="pl-PL" smtClean="0"/>
              <a:t>14.10.2024</a:t>
            </a:fld>
            <a:endParaRPr lang="pl-P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3F283-5FE2-4577-855E-004401B14A9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716553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673A0D-CBA7-42CF-9081-12D8A850B1A1}" type="datetimeFigureOut">
              <a:rPr lang="pl-PL" smtClean="0"/>
              <a:t>14.10.2024</a:t>
            </a:fld>
            <a:endParaRPr lang="pl-P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3F283-5FE2-4577-855E-004401B14A9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140311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673A0D-CBA7-42CF-9081-12D8A850B1A1}" type="datetimeFigureOut">
              <a:rPr lang="pl-PL" smtClean="0"/>
              <a:t>14.10.2024</a:t>
            </a:fld>
            <a:endParaRPr lang="pl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3F283-5FE2-4577-855E-004401B14A9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217095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l-PL"/>
              <a:t>Kliknij ikonę, aby dodać obraz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673A0D-CBA7-42CF-9081-12D8A850B1A1}" type="datetimeFigureOut">
              <a:rPr lang="pl-PL" smtClean="0"/>
              <a:t>14.10.2024</a:t>
            </a:fld>
            <a:endParaRPr lang="pl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3F283-5FE2-4577-855E-004401B14A9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80347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49768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5" imgW="592" imgH="595" progId="TCLayout.ActiveDocument.1">
                  <p:embed/>
                </p:oleObj>
              </mc:Choice>
              <mc:Fallback>
                <p:oleObj name="think-cell Slide" r:id="rId1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673A0D-CBA7-42CF-9081-12D8A850B1A1}" type="datetimeFigureOut">
              <a:rPr lang="pl-PL" smtClean="0"/>
              <a:t>14.10.2024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F3F283-5FE2-4577-855E-004401B14A9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49054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1.xml"/><Relationship Id="rId7" Type="http://schemas.openxmlformats.org/officeDocument/2006/relationships/chart" Target="../charts/char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4216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7482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rostokąt 5"/>
          <p:cNvSpPr/>
          <p:nvPr/>
        </p:nvSpPr>
        <p:spPr>
          <a:xfrm>
            <a:off x="2754486" y="1177126"/>
            <a:ext cx="837625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4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Aleksandra Kamińska-Witkowska </a:t>
            </a:r>
            <a:r>
              <a:rPr lang="pl-PL" sz="1400" i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Uniwersytet Ekonomiczny w Poznaniu</a:t>
            </a: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; </a:t>
            </a:r>
            <a:endParaRPr lang="pl-PL" sz="1400" i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pl-PL" sz="1200" dirty="0" smtClean="0">
                <a:solidFill>
                  <a:srgbClr val="0462C1"/>
                </a:solidFill>
                <a:latin typeface="Calibri" panose="020F0502020204030204" pitchFamily="34" charset="0"/>
              </a:rPr>
              <a:t>aleksandra.kaminska-witkowska@ue.poznan.pl</a:t>
            </a:r>
            <a:endParaRPr lang="en-US" sz="1200" dirty="0">
              <a:solidFill>
                <a:srgbClr val="0462C1"/>
              </a:solidFill>
              <a:latin typeface="Calibri" panose="020F0502020204030204" pitchFamily="34" charset="0"/>
            </a:endParaRPr>
          </a:p>
        </p:txBody>
      </p:sp>
      <p:sp>
        <p:nvSpPr>
          <p:cNvPr id="9" name="Prostokąt 8"/>
          <p:cNvSpPr/>
          <p:nvPr/>
        </p:nvSpPr>
        <p:spPr>
          <a:xfrm>
            <a:off x="284668" y="2796679"/>
            <a:ext cx="85919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l-PL" sz="1200" dirty="0" smtClean="0"/>
              <a:t>W publikacji dokonano analizy na podstawie badań przeprowadzonych w formie ankiety audytoryjnej wśród 44 konsultantów środowiskowych zatrudnionych w jednej z największych firm produkcyjnych w Polsce. W firmie </a:t>
            </a:r>
            <a:r>
              <a:rPr lang="pl-PL" sz="1200" dirty="0"/>
              <a:t>od lat </a:t>
            </a:r>
            <a:r>
              <a:rPr lang="pl-PL" sz="1200" dirty="0" smtClean="0"/>
              <a:t>funkcjonuje </a:t>
            </a:r>
            <a:r>
              <a:rPr lang="pl-PL" sz="1200" dirty="0"/>
              <a:t>zintegrowany system </a:t>
            </a:r>
            <a:r>
              <a:rPr lang="pl-PL" sz="1200" dirty="0" smtClean="0"/>
              <a:t>zarządzania środowiskowego </a:t>
            </a:r>
            <a:r>
              <a:rPr lang="pl-PL" sz="1200" dirty="0"/>
              <a:t>i energią oparty o wymagania normy ISO 14001 oraz ISO </a:t>
            </a:r>
            <a:r>
              <a:rPr lang="pl-PL" sz="1200" dirty="0" smtClean="0"/>
              <a:t>50001.</a:t>
            </a:r>
          </a:p>
        </p:txBody>
      </p:sp>
      <p:sp>
        <p:nvSpPr>
          <p:cNvPr id="10" name="Prostokąt 9"/>
          <p:cNvSpPr/>
          <p:nvPr/>
        </p:nvSpPr>
        <p:spPr>
          <a:xfrm>
            <a:off x="284670" y="5370820"/>
            <a:ext cx="859191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l-PL" sz="1200" dirty="0" smtClean="0"/>
              <a:t>Wyniki analizy wskazują na wysoki poziom świadomości marnotrawstw środowiskowych w organizacji oraz przekonanie respondentów o konieczności angażowania wszystkich pracowników w działania związane z ich zwalczaniem. Rezultaty badań są cennym źródłem </a:t>
            </a:r>
            <a:r>
              <a:rPr lang="pl-PL" sz="1200" dirty="0"/>
              <a:t>inspiracji </a:t>
            </a:r>
            <a:r>
              <a:rPr lang="pl-PL" sz="1200" dirty="0" smtClean="0"/>
              <a:t>w </a:t>
            </a:r>
            <a:r>
              <a:rPr lang="pl-PL" sz="1200" dirty="0"/>
              <a:t>zakresie </a:t>
            </a:r>
            <a:r>
              <a:rPr lang="pl-PL" sz="1200" dirty="0" smtClean="0"/>
              <a:t>praktyk, </a:t>
            </a:r>
            <a:r>
              <a:rPr lang="pl-PL" sz="1200" dirty="0"/>
              <a:t>które mogą być zaadoptowane również w innych </a:t>
            </a:r>
            <a:r>
              <a:rPr lang="pl-PL" sz="1200" dirty="0" smtClean="0"/>
              <a:t>organizacjach w podziale na 3 kategorie: rozwiązania infrastrukturalne, działania organizacyjne </a:t>
            </a:r>
            <a:r>
              <a:rPr lang="pl-PL" sz="1200" dirty="0"/>
              <a:t>oraz </a:t>
            </a:r>
            <a:r>
              <a:rPr lang="pl-PL" sz="1200" dirty="0" smtClean="0"/>
              <a:t>akcje komunikacyjne. </a:t>
            </a:r>
            <a:r>
              <a:rPr lang="pl-PL" sz="1200" dirty="0"/>
              <a:t>Co więcej, artykuł udowadnia, że nawet w doświadczonej </a:t>
            </a:r>
            <a:r>
              <a:rPr lang="pl-PL" sz="1200" dirty="0" smtClean="0"/>
              <a:t>i </a:t>
            </a:r>
            <a:r>
              <a:rPr lang="pl-PL" sz="1200" dirty="0"/>
              <a:t>dojrzałej organizacji w zakresie zarządzania środowiskiem i energią, pozornie popularna koncepcja Green Lean może nie być powszechnie </a:t>
            </a:r>
            <a:r>
              <a:rPr lang="pl-PL" sz="1200" dirty="0" smtClean="0"/>
              <a:t>znana.</a:t>
            </a:r>
          </a:p>
        </p:txBody>
      </p:sp>
      <p:sp>
        <p:nvSpPr>
          <p:cNvPr id="14" name="Prostokąt 13"/>
          <p:cNvSpPr/>
          <p:nvPr/>
        </p:nvSpPr>
        <p:spPr>
          <a:xfrm>
            <a:off x="284669" y="2362911"/>
            <a:ext cx="85919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l-PL" sz="1200" dirty="0" smtClean="0"/>
              <a:t>Cel opracowania: ocena </a:t>
            </a:r>
            <a:r>
              <a:rPr lang="pl-PL" sz="1200" dirty="0"/>
              <a:t>poziomu świadomości występowania marnotrawstw środowiskowych w firmie X z perspektywy pracujących w niej konsultantów środowiskowych oraz jej przełożenia na konkretne </a:t>
            </a:r>
            <a:r>
              <a:rPr lang="pl-PL" sz="1200" dirty="0" smtClean="0"/>
              <a:t>działania</a:t>
            </a:r>
            <a:r>
              <a:rPr lang="pl-PL" sz="1200" dirty="0"/>
              <a:t> </a:t>
            </a:r>
            <a:r>
              <a:rPr lang="pl-PL" sz="1200" dirty="0" smtClean="0"/>
              <a:t>przeciwko tym marnotrawstwom.</a:t>
            </a:r>
            <a:endParaRPr lang="pl-PL" sz="1200" dirty="0"/>
          </a:p>
        </p:txBody>
      </p:sp>
      <p:graphicFrame>
        <p:nvGraphicFramePr>
          <p:cNvPr id="17" name="Wykres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92276878"/>
              </p:ext>
            </p:extLst>
          </p:nvPr>
        </p:nvGraphicFramePr>
        <p:xfrm>
          <a:off x="5607601" y="3402491"/>
          <a:ext cx="3268980" cy="19857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8" name="Prostokąt 17"/>
          <p:cNvSpPr/>
          <p:nvPr/>
        </p:nvSpPr>
        <p:spPr>
          <a:xfrm>
            <a:off x="284670" y="1716580"/>
            <a:ext cx="859191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b="1" dirty="0">
                <a:solidFill>
                  <a:srgbClr val="7E5F00"/>
                </a:solidFill>
                <a:latin typeface="Calibri" panose="020F0502020204030204" pitchFamily="34" charset="0"/>
              </a:rPr>
              <a:t>Świadomość marnotrawstw środowiskowych w przedsiębiorstwie produkcyjnym </a:t>
            </a:r>
            <a:r>
              <a:rPr lang="pl-PL" b="1" dirty="0" smtClean="0">
                <a:solidFill>
                  <a:srgbClr val="7E5F00"/>
                </a:solidFill>
                <a:latin typeface="Calibri" panose="020F0502020204030204" pitchFamily="34" charset="0"/>
              </a:rPr>
              <a:t/>
            </a:r>
            <a:br>
              <a:rPr lang="pl-PL" b="1" dirty="0" smtClean="0">
                <a:solidFill>
                  <a:srgbClr val="7E5F00"/>
                </a:solidFill>
                <a:latin typeface="Calibri" panose="020F0502020204030204" pitchFamily="34" charset="0"/>
              </a:rPr>
            </a:br>
            <a:r>
              <a:rPr lang="pl-PL" b="1" dirty="0" smtClean="0">
                <a:solidFill>
                  <a:srgbClr val="7E5F00"/>
                </a:solidFill>
                <a:latin typeface="Calibri" panose="020F0502020204030204" pitchFamily="34" charset="0"/>
              </a:rPr>
              <a:t>w </a:t>
            </a:r>
            <a:r>
              <a:rPr lang="pl-PL" b="1" dirty="0">
                <a:solidFill>
                  <a:srgbClr val="7E5F00"/>
                </a:solidFill>
                <a:latin typeface="Calibri" panose="020F0502020204030204" pitchFamily="34" charset="0"/>
              </a:rPr>
              <a:t>ocenie konsultantów środowiskowych</a:t>
            </a:r>
            <a:endParaRPr lang="pl-PL" dirty="0"/>
          </a:p>
        </p:txBody>
      </p:sp>
      <p:graphicFrame>
        <p:nvGraphicFramePr>
          <p:cNvPr id="19" name="Wykres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60968318"/>
              </p:ext>
            </p:extLst>
          </p:nvPr>
        </p:nvGraphicFramePr>
        <p:xfrm>
          <a:off x="-1092106" y="3427770"/>
          <a:ext cx="4079146" cy="281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27" name="Grupa 26"/>
          <p:cNvGrpSpPr/>
          <p:nvPr/>
        </p:nvGrpSpPr>
        <p:grpSpPr>
          <a:xfrm>
            <a:off x="2978017" y="4046204"/>
            <a:ext cx="2953793" cy="1061829"/>
            <a:chOff x="3147061" y="3992921"/>
            <a:chExt cx="2953793" cy="1061829"/>
          </a:xfrm>
        </p:grpSpPr>
        <p:sp>
          <p:nvSpPr>
            <p:cNvPr id="23" name="pole tekstowe 22"/>
            <p:cNvSpPr txBox="1"/>
            <p:nvPr/>
          </p:nvSpPr>
          <p:spPr>
            <a:xfrm>
              <a:off x="3147061" y="3992921"/>
              <a:ext cx="1176206" cy="10618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l-PL" sz="105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ziałania ukierunkowane na ograniczenie marnotrawstw środowiskowych w firmie X</a:t>
              </a:r>
              <a:endParaRPr lang="pl-PL" sz="105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4" name="Prostokąt 23"/>
            <p:cNvSpPr/>
            <p:nvPr/>
          </p:nvSpPr>
          <p:spPr>
            <a:xfrm>
              <a:off x="4323268" y="4365196"/>
              <a:ext cx="1777585" cy="288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hilly" dir="t">
                <a:rot lat="0" lon="0" rev="18480000"/>
              </a:lightRig>
            </a:scene3d>
            <a:sp3d prstMaterial="clear">
              <a:bevelT h="635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sz="1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ozwiązania infrastrukturalne</a:t>
              </a:r>
              <a:endParaRPr lang="pl-PL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5" name="Prostokąt 24"/>
            <p:cNvSpPr/>
            <p:nvPr/>
          </p:nvSpPr>
          <p:spPr>
            <a:xfrm>
              <a:off x="4323269" y="4037536"/>
              <a:ext cx="1777585" cy="288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hilly" dir="t">
                <a:rot lat="0" lon="0" rev="18480000"/>
              </a:lightRig>
            </a:scene3d>
            <a:sp3d prstMaterial="clear">
              <a:bevelT h="635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sz="1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ziałania organizacyjne</a:t>
              </a:r>
              <a:endParaRPr lang="pl-PL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6" name="Prostokąt 25"/>
            <p:cNvSpPr/>
            <p:nvPr/>
          </p:nvSpPr>
          <p:spPr>
            <a:xfrm>
              <a:off x="4323267" y="4704054"/>
              <a:ext cx="1777585" cy="288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hilly" dir="t">
                <a:rot lat="0" lon="0" rev="18480000"/>
              </a:lightRig>
            </a:scene3d>
            <a:sp3d prstMaterial="clear">
              <a:bevelT h="635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sz="1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kcje komunikacyjne</a:t>
              </a:r>
              <a:endParaRPr lang="pl-PL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9915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yw pakietu Office">
  <a:themeElements>
    <a:clrScheme name="Motyw pakietu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otyw pakietu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otyw pakietu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22</Words>
  <Application>Microsoft Office PowerPoint</Application>
  <PresentationFormat>Pokaz na ekranie (4:3)</PresentationFormat>
  <Paragraphs>12</Paragraphs>
  <Slides>2</Slides>
  <Notes>0</Notes>
  <HiddenSlides>0</HiddenSlides>
  <MMClips>0</MMClips>
  <ScaleCrop>false</ScaleCrop>
  <HeadingPairs>
    <vt:vector size="8" baseType="variant">
      <vt:variant>
        <vt:lpstr>Używane czcionki</vt:lpstr>
      </vt:variant>
      <vt:variant>
        <vt:i4>3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Motyw pakietu Office</vt:lpstr>
      <vt:lpstr>think-cell Slide</vt:lpstr>
      <vt:lpstr>Prezentacja programu PowerPoint</vt:lpstr>
      <vt:lpstr>Prezentacja programu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Magdalena Muradin</dc:creator>
  <cp:lastModifiedBy>Kaminska-Witkowska, Aleksandra, Mgr Inz. (P/10)</cp:lastModifiedBy>
  <cp:revision>12</cp:revision>
  <dcterms:created xsi:type="dcterms:W3CDTF">2024-09-12T16:00:15Z</dcterms:created>
  <dcterms:modified xsi:type="dcterms:W3CDTF">2024-10-14T20:42:26Z</dcterms:modified>
</cp:coreProperties>
</file>